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5"/>
  </p:notesMasterIdLst>
  <p:sldIdLst>
    <p:sldId id="2147378078" r:id="rId5"/>
    <p:sldId id="2147475149" r:id="rId6"/>
    <p:sldId id="2147473412" r:id="rId7"/>
    <p:sldId id="13801" r:id="rId8"/>
    <p:sldId id="2147473384" r:id="rId9"/>
    <p:sldId id="2147475168" r:id="rId10"/>
    <p:sldId id="2147475151" r:id="rId11"/>
    <p:sldId id="2147475152" r:id="rId12"/>
    <p:sldId id="2147475148" r:id="rId13"/>
    <p:sldId id="2147475150" r:id="rId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D"/>
    <a:srgbClr val="7ECAC4"/>
    <a:srgbClr val="FF8080"/>
    <a:srgbClr val="FFBFBF"/>
    <a:srgbClr val="00A097"/>
    <a:srgbClr val="7DC9C4"/>
    <a:srgbClr val="A6DAD6"/>
    <a:srgbClr val="FFFFFF"/>
    <a:srgbClr val="C00000"/>
    <a:srgbClr val="8DCF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58"/>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B6E81D5E-7428-4206-B7E6-6B818DF1C011}"/>
    <pc:docChg chg="custSel modSld delMainMaster modMainMaster">
      <pc:chgData name="Neriman EL HADIDI" userId="4b24840c-84b3-44ac-9131-ca3568cb403b" providerId="ADAL" clId="{B6E81D5E-7428-4206-B7E6-6B818DF1C011}" dt="2024-11-01T08:47:36.460" v="10"/>
      <pc:docMkLst>
        <pc:docMk/>
      </pc:docMkLst>
      <pc:sldChg chg="delSp mod">
        <pc:chgData name="Neriman EL HADIDI" userId="4b24840c-84b3-44ac-9131-ca3568cb403b" providerId="ADAL" clId="{B6E81D5E-7428-4206-B7E6-6B818DF1C011}" dt="2024-11-01T08:44:36.398" v="0" actId="478"/>
        <pc:sldMkLst>
          <pc:docMk/>
          <pc:sldMk cId="0" sldId="2147473412"/>
        </pc:sldMkLst>
        <pc:spChg chg="del">
          <ac:chgData name="Neriman EL HADIDI" userId="4b24840c-84b3-44ac-9131-ca3568cb403b" providerId="ADAL" clId="{B6E81D5E-7428-4206-B7E6-6B818DF1C011}" dt="2024-11-01T08:44:36.398" v="0" actId="478"/>
          <ac:spMkLst>
            <pc:docMk/>
            <pc:sldMk cId="0" sldId="2147473412"/>
            <ac:spMk id="3" creationId="{628F787F-C378-5EE4-B305-0AE361710C10}"/>
          </ac:spMkLst>
        </pc:spChg>
        <pc:spChg chg="del">
          <ac:chgData name="Neriman EL HADIDI" userId="4b24840c-84b3-44ac-9131-ca3568cb403b" providerId="ADAL" clId="{B6E81D5E-7428-4206-B7E6-6B818DF1C011}" dt="2024-11-01T08:44:36.398" v="0" actId="478"/>
          <ac:spMkLst>
            <pc:docMk/>
            <pc:sldMk cId="0" sldId="2147473412"/>
            <ac:spMk id="8" creationId="{B0B95055-509A-F445-86D3-A92D25C20D8B}"/>
          </ac:spMkLst>
        </pc:spChg>
      </pc:sldChg>
      <pc:sldChg chg="modSp">
        <pc:chgData name="Neriman EL HADIDI" userId="4b24840c-84b3-44ac-9131-ca3568cb403b" providerId="ADAL" clId="{B6E81D5E-7428-4206-B7E6-6B818DF1C011}" dt="2024-11-01T08:47:36.460" v="10"/>
        <pc:sldMkLst>
          <pc:docMk/>
          <pc:sldMk cId="1059335515" sldId="2147475149"/>
        </pc:sldMkLst>
        <pc:graphicFrameChg chg="mod">
          <ac:chgData name="Neriman EL HADIDI" userId="4b24840c-84b3-44ac-9131-ca3568cb403b" providerId="ADAL" clId="{B6E81D5E-7428-4206-B7E6-6B818DF1C011}" dt="2024-11-01T08:47:36.460" v="10"/>
          <ac:graphicFrameMkLst>
            <pc:docMk/>
            <pc:sldMk cId="1059335515" sldId="2147475149"/>
            <ac:graphicFrameMk id="30" creationId="{BEA8EE7C-F76C-4D6E-8B71-2C2B6C6C031D}"/>
          </ac:graphicFrameMkLst>
        </pc:graphicFrameChg>
        <pc:graphicFrameChg chg="mod">
          <ac:chgData name="Neriman EL HADIDI" userId="4b24840c-84b3-44ac-9131-ca3568cb403b" providerId="ADAL" clId="{B6E81D5E-7428-4206-B7E6-6B818DF1C011}" dt="2024-11-01T08:47:29.505" v="9"/>
          <ac:graphicFrameMkLst>
            <pc:docMk/>
            <pc:sldMk cId="1059335515" sldId="2147475149"/>
            <ac:graphicFrameMk id="31" creationId="{D60E6CB1-B8E9-4BFA-A4C2-BE3B93DBDF82}"/>
          </ac:graphicFrameMkLst>
        </pc:graphicFrameChg>
        <pc:graphicFrameChg chg="mod">
          <ac:chgData name="Neriman EL HADIDI" userId="4b24840c-84b3-44ac-9131-ca3568cb403b" providerId="ADAL" clId="{B6E81D5E-7428-4206-B7E6-6B818DF1C011}" dt="2024-11-01T08:47:09.717" v="8"/>
          <ac:graphicFrameMkLst>
            <pc:docMk/>
            <pc:sldMk cId="1059335515" sldId="2147475149"/>
            <ac:graphicFrameMk id="32" creationId="{7F09B27F-4E26-4EFB-8578-68A3DB9629CA}"/>
          </ac:graphicFrameMkLst>
        </pc:graphicFrameChg>
      </pc:sldChg>
      <pc:sldMasterChg chg="del">
        <pc:chgData name="Neriman EL HADIDI" userId="4b24840c-84b3-44ac-9131-ca3568cb403b" providerId="ADAL" clId="{B6E81D5E-7428-4206-B7E6-6B818DF1C011}" dt="2024-11-01T08:45:39.187" v="1" actId="2696"/>
        <pc:sldMasterMkLst>
          <pc:docMk/>
          <pc:sldMasterMk cId="823099819" sldId="2147483792"/>
        </pc:sldMasterMkLst>
      </pc:sldMasterChg>
      <pc:sldMasterChg chg="del">
        <pc:chgData name="Neriman EL HADIDI" userId="4b24840c-84b3-44ac-9131-ca3568cb403b" providerId="ADAL" clId="{B6E81D5E-7428-4206-B7E6-6B818DF1C011}" dt="2024-11-01T08:46:04.026" v="2" actId="2696"/>
        <pc:sldMasterMkLst>
          <pc:docMk/>
          <pc:sldMasterMk cId="4279359491" sldId="2147483842"/>
        </pc:sldMasterMkLst>
      </pc:sldMasterChg>
      <pc:sldMasterChg chg="modSldLayout">
        <pc:chgData name="Neriman EL HADIDI" userId="4b24840c-84b3-44ac-9131-ca3568cb403b" providerId="ADAL" clId="{B6E81D5E-7428-4206-B7E6-6B818DF1C011}" dt="2024-11-01T08:46:19.132" v="3" actId="14100"/>
        <pc:sldMasterMkLst>
          <pc:docMk/>
          <pc:sldMasterMk cId="4001983691" sldId="2147483946"/>
        </pc:sldMasterMkLst>
        <pc:sldLayoutChg chg="modSp mod">
          <pc:chgData name="Neriman EL HADIDI" userId="4b24840c-84b3-44ac-9131-ca3568cb403b" providerId="ADAL" clId="{B6E81D5E-7428-4206-B7E6-6B818DF1C011}" dt="2024-11-01T08:46:19.132" v="3" actId="14100"/>
          <pc:sldLayoutMkLst>
            <pc:docMk/>
            <pc:sldMasterMk cId="4001983691" sldId="2147483946"/>
            <pc:sldLayoutMk cId="4023644576" sldId="2147484007"/>
          </pc:sldLayoutMkLst>
          <pc:spChg chg="mod">
            <ac:chgData name="Neriman EL HADIDI" userId="4b24840c-84b3-44ac-9131-ca3568cb403b" providerId="ADAL" clId="{B6E81D5E-7428-4206-B7E6-6B818DF1C011}" dt="2024-11-01T08:46:19.132" v="3" actId="14100"/>
            <ac:spMkLst>
              <pc:docMk/>
              <pc:sldMasterMk cId="4001983691" sldId="2147483946"/>
              <pc:sldLayoutMk cId="4023644576" sldId="2147484007"/>
              <ac:spMk id="2" creationId="{E5808D65-B4B3-3AF9-D068-D172F8F8A3C9}"/>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B84B95C-1D97-4EF3-8B74-565F87FD5B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5221F24-AB27-417A-9774-E4763173FA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065F2A3-F892-48FC-BD17-6A54B257E9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7F0790B-DD71-4E9B-BFE3-129B0C5A9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2B91CC1-B4AA-46FE-AA0E-0D176BE8F4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D169C88-4CE9-47F4-B703-16DA31E211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566EC40-4E41-4A18-84F9-A67EEC5B82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E9B15D9B-4642-407A-9F64-C35A6CC48C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1"/>
        <c:ser>
          <c:idx val="2"/>
          <c:order val="0"/>
          <c:tx>
            <c:strRef>
              <c:f>Sheet1!$B$1</c:f>
              <c:strCache>
                <c:ptCount val="1"/>
                <c:pt idx="0">
                  <c:v>vs 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6BB3-4B8C-B509-8907AD7C9642}"/>
              </c:ext>
            </c:extLst>
          </c:dPt>
          <c:dPt>
            <c:idx val="2"/>
            <c:invertIfNegative val="1"/>
            <c:bubble3D val="0"/>
            <c:extLst>
              <c:ext xmlns:c16="http://schemas.microsoft.com/office/drawing/2014/chart" uri="{C3380CC4-5D6E-409C-BE32-E72D297353CC}">
                <c16:uniqueId val="{00000002-6BB3-4B8C-B509-8907AD7C9642}"/>
              </c:ext>
            </c:extLst>
          </c:dPt>
          <c:dPt>
            <c:idx val="3"/>
            <c:invertIfNegative val="1"/>
            <c:bubble3D val="0"/>
            <c:extLst>
              <c:ext xmlns:c16="http://schemas.microsoft.com/office/drawing/2014/chart" uri="{C3380CC4-5D6E-409C-BE32-E72D297353CC}">
                <c16:uniqueId val="{00000003-6BB3-4B8C-B509-8907AD7C9642}"/>
              </c:ext>
            </c:extLst>
          </c:dPt>
          <c:dPt>
            <c:idx val="5"/>
            <c:invertIfNegative val="1"/>
            <c:bubble3D val="0"/>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AEABA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AEABAB">
                <a:alpha val="84706"/>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7646BBB3-87A2-45A8-AEA0-C77CCD043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01A405E5-8800-4DE5-B6E6-DD86DCBB7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1799FB26-98A5-40D3-8F84-0434187C0C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2986849F-DAB5-43DF-9680-5914C57C14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C9D8098C-F074-49AF-8879-2B52D368E2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4EEF7163-3F87-436F-B018-676A705F96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8147635A-4075-475D-AFE4-C7D2EF738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DDA88248-14AF-4A1F-A71C-C321BCA83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AB06E4F3-847B-45D3-B55B-5D2F5A1167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28EC368F-FE18-45C9-B1FC-9C225F1B13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B249042D-5FAB-4DCE-8A42-7ECD5ABE51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97646438-3057-4942-B944-5EC78D3834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2C4CA10D-98C0-4AAB-AF4D-0292095643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867DEA0E-E239-494F-B12F-8A82C2FEF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F8AD355B-4573-4708-972C-F6241C7126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17909827-723D-451A-8479-C74B2B0C58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F6EACC2D-EBBA-4150-9D5D-D68D197F4F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B3AEAAF7-9BA2-4FFC-B7CA-DB84322D3A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F41F9149-DF6D-4D4F-BCD5-23AB6F4919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01666497-6E3B-4AE1-8BDA-FE1AC9ECB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2E179725-9256-4FF4-8923-A11DCF63F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A2316D72-9767-487C-BFAC-EC3A2EB383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55F81BAB-57D9-465C-A959-027E833824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2B14751C-083E-4AFE-A361-9ABF8B5836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65CCE796-97B9-4689-8F9A-6390800131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2A8D09F0-CAEE-423F-91AB-D8611A65E8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87B0D6C8-CC83-47BF-8E0A-14271C21D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3AFFD14A-590D-417B-B0E5-D7F01D1F8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AA7B7917-16E0-4A04-8F89-270CC3C35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0F714859-1ED4-4BD9-9223-2B6EC5AF22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87B688DE-F5AB-4C23-92A7-1288081F7B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3E24F253-2229-4DE1-AD57-D7CCBC3197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68B10D19-5F2B-498E-9671-DC886F121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E585CFD9-191E-4E1E-B2F7-26E14B5002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948A847D-CD08-4C66-AD10-7C902D16A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7C83E8D7-B345-434A-BDFF-D68950E87C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89E52C25-41FA-45DB-A6E3-2C931DD10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E87EAC09-C43C-40DB-949C-46CEE17BF1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C26B09B2-971E-45C2-BB17-4E895EF81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CFE97B4D-6F12-4CFF-989C-01804D9E06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01C049DD-4E8A-456B-99C5-BCDFE52AF6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FD0C0DD8-A915-45C7-B08C-16E22731EF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2D395858-54BD-413D-A349-3C6B279922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161571E5-20C3-42A1-B02A-9E4307ACC0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2B6B3DE6-4637-4531-93ED-704E4AEC8F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F2CE69C7-87C4-4083-B891-6BA18EE651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3DD5CAD6-BC9A-4AD1-AF95-4E514872E2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4D8DCC6F-F7A7-4627-A5C1-2281C45F79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C4F1879A-505F-4C3D-B5C4-6E4AB81455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5C5F2699-9177-419A-AF20-7280CEAD32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C8D47C20-1F77-4871-B959-503B21D084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6B48AF72-D104-4F8B-8736-F09E85AC8A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FBE7E0AC-4F91-4B6E-9DF8-63C86BB00D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C7A086C5-D90B-49AD-92F6-D40CEB1A9B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6721E96C-3752-4718-8BFA-897C0C303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05D3E75D-AA56-4515-BFA2-0BBB4B505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D22EF366-F5FE-49C0-B0EF-5F8F68BAFB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15/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2.xml"/><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670340" y="1387069"/>
            <a:ext cx="1657300" cy="127432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90" y="2661394"/>
            <a:ext cx="3084220" cy="170031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670340" y="2661393"/>
            <a:ext cx="1657299" cy="170031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8837"/>
            <a:ext cx="3084221" cy="1272556"/>
          </a:xfrm>
          <a:prstGeom prst="rect">
            <a:avLst/>
          </a:prstGeom>
          <a:solidFill>
            <a:srgbClr val="7DC9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122994"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3398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196433404"/>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117490007"/>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016251149"/>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5933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fr-FR"/>
              <a:t>DATA SOURCE: Client P&amp;L</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US" dirty="0"/>
              <a:t>Sector KPIs Summary | Cream Cheese | National | Hershey</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r>
              <a:rPr lang="en-US" dirty="0">
                <a:highlight>
                  <a:srgbClr val="FFFF00"/>
                </a:highlight>
              </a:rPr>
              <a:t>Sector</a:t>
            </a:r>
            <a:r>
              <a:rPr lang="en-CH" dirty="0">
                <a:highlight>
                  <a:srgbClr val="FFFF00"/>
                </a:highlight>
              </a:rPr>
              <a:t>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extLst>
              <p:ext uri="{D42A27DB-BD31-4B8C-83A1-F6EECF244321}">
                <p14:modId xmlns:p14="http://schemas.microsoft.com/office/powerpoint/2010/main" val="872062300"/>
              </p:ext>
            </p:extLst>
          </p:nvPr>
        </p:nvGraphicFramePr>
        <p:xfrm>
          <a:off x="546970" y="1134112"/>
          <a:ext cx="8093029" cy="1766024"/>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297663">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Sector</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 Sales (</a:t>
                      </a:r>
                      <a:r>
                        <a:rPr lang="fr-CH" sz="900" u="none" strike="noStrike">
                          <a:solidFill>
                            <a:schemeClr val="tx2"/>
                          </a:solidFill>
                          <a:effectLst/>
                          <a:highlight>
                            <a:srgbClr val="FFFF00"/>
                          </a:highlight>
                          <a:latin typeface="Nexa Bold" panose="00000800000000000000"/>
                          <a:ea typeface="Open Sans" panose="020B0606030504020204" pitchFamily="34" charset="0"/>
                          <a:cs typeface="Open Sans" panose="020B0606030504020204" pitchFamily="34" charset="0"/>
                        </a:rPr>
                        <a:t>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506547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857360637"/>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280226519"/>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846919138"/>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0373044"/>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580</a:t>
                      </a:r>
                      <a:r>
                        <a:rPr lang="en-US" sz="800" dirty="0">
                          <a:solidFill>
                            <a:srgbClr val="575555"/>
                          </a:solidFill>
                          <a:latin typeface="Nexa Book"/>
                        </a:rPr>
                        <a:t>.</a:t>
                      </a:r>
                      <a:r>
                        <a:rPr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59%</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957830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dirty="0">
                          <a:solidFill>
                            <a:srgbClr val="575555"/>
                          </a:solidFill>
                          <a:latin typeface="Nexa Book"/>
                        </a:rPr>
                        <a:t>26</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599167105"/>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862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dirty="0"/>
              <a:t>Mix Matrix | Weight of Business (</a:t>
            </a:r>
            <a:r>
              <a:rPr lang="en-GB" dirty="0" err="1"/>
              <a:t>WoB</a:t>
            </a:r>
            <a:r>
              <a:rPr lang="en-GB" dirty="0"/>
              <a:t>) vs. Net Sales per Vol (NS/Vol) and Gross Margin (GM%) | Client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National</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56762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a:t>
            </a:r>
            <a:r>
              <a:rPr lang="en-GB"/>
              <a:t>per Vol </a:t>
            </a:r>
            <a:r>
              <a:rPr lang="en-GB" dirty="0"/>
              <a:t>(NS/Vol)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30686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276091182"/>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02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1634973454"/>
              </p:ext>
            </p:extLst>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2189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29997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3.xml><?xml version="1.0" encoding="utf-8"?>
<ds:datastoreItem xmlns:ds="http://schemas.openxmlformats.org/officeDocument/2006/customXml" ds:itemID="{AC113E98-7689-4749-B74E-87793737B6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2</TotalTime>
  <Words>4487</Words>
  <Application>Microsoft Office PowerPoint</Application>
  <PresentationFormat>On-screen Show (16:9)</PresentationFormat>
  <Paragraphs>1751</Paragraphs>
  <Slides>10</Slides>
  <Notes>4</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Trade Margin Analysis by Retailer (Replace with So What)</vt:lpstr>
      <vt:lpstr>Sector KPIs Summary (Replace with So What)</vt:lpstr>
      <vt:lpstr>SKU KPIs Summary (Replace with So What)</vt:lpstr>
      <vt:lpstr>Mix Matrix (Replace with So What)</vt:lpstr>
      <vt:lpstr>Mix Matrix by brand (Replace with So What)</vt:lpstr>
      <vt:lpstr>Sector Spending pool split (Replace with So What)</vt:lpstr>
      <vt:lpstr>Product Spending pool split (Replace with So What)</vt:lpstr>
      <vt:lpstr>SKU Profitability Analysis with TM% (Replace with So What)</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55</cp:revision>
  <dcterms:created xsi:type="dcterms:W3CDTF">2024-07-05T15:31:56Z</dcterms:created>
  <dcterms:modified xsi:type="dcterms:W3CDTF">2025-09-15T11:3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